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47" r:id="rId3"/>
    <p:sldMasterId id="2147483774" r:id="rId4"/>
  </p:sldMasterIdLst>
  <p:notesMasterIdLst>
    <p:notesMasterId r:id="rId20"/>
  </p:notesMasterIdLst>
  <p:handoutMasterIdLst>
    <p:handoutMasterId r:id="rId21"/>
  </p:handoutMasterIdLst>
  <p:sldIdLst>
    <p:sldId id="1277" r:id="rId5"/>
    <p:sldId id="1293" r:id="rId6"/>
    <p:sldId id="1294" r:id="rId7"/>
    <p:sldId id="1296" r:id="rId8"/>
    <p:sldId id="1352" r:id="rId9"/>
    <p:sldId id="1351" r:id="rId10"/>
    <p:sldId id="1347" r:id="rId11"/>
    <p:sldId id="1348" r:id="rId12"/>
    <p:sldId id="1320" r:id="rId13"/>
    <p:sldId id="1333" r:id="rId14"/>
    <p:sldId id="1343" r:id="rId15"/>
    <p:sldId id="1344" r:id="rId16"/>
    <p:sldId id="1345" r:id="rId17"/>
    <p:sldId id="1346" r:id="rId18"/>
    <p:sldId id="1353" r:id="rId1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2"/>
            <p14:sldId id="1351"/>
            <p14:sldId id="1347"/>
            <p14:sldId id="1348"/>
            <p14:sldId id="1320"/>
            <p14:sldId id="1333"/>
            <p14:sldId id="1343"/>
            <p14:sldId id="1344"/>
            <p14:sldId id="1345"/>
            <p14:sldId id="1346"/>
            <p14:sldId id="135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1592F"/>
    <a:srgbClr val="FF5D37"/>
    <a:srgbClr val="FF3300"/>
    <a:srgbClr val="FFD243"/>
    <a:srgbClr val="FF7A5B"/>
    <a:srgbClr val="F5C28F"/>
    <a:srgbClr val="F1CA7B"/>
    <a:srgbClr val="F5AC83"/>
    <a:srgbClr val="FD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49</c:v>
                </c:pt>
                <c:pt idx="38">
                  <c:v>3404</c:v>
                </c:pt>
                <c:pt idx="39">
                  <c:v>3590</c:v>
                </c:pt>
                <c:pt idx="40">
                  <c:v>3741</c:v>
                </c:pt>
                <c:pt idx="41">
                  <c:v>3878</c:v>
                </c:pt>
                <c:pt idx="42">
                  <c:v>4041</c:v>
                </c:pt>
                <c:pt idx="43">
                  <c:v>3936</c:v>
                </c:pt>
                <c:pt idx="44">
                  <c:v>4077</c:v>
                </c:pt>
                <c:pt idx="45">
                  <c:v>4710</c:v>
                </c:pt>
                <c:pt idx="46">
                  <c:v>4752</c:v>
                </c:pt>
                <c:pt idx="47">
                  <c:v>4732</c:v>
                </c:pt>
                <c:pt idx="48">
                  <c:v>5082</c:v>
                </c:pt>
                <c:pt idx="49">
                  <c:v>5163</c:v>
                </c:pt>
                <c:pt idx="50">
                  <c:v>5017</c:v>
                </c:pt>
                <c:pt idx="51">
                  <c:v>5242</c:v>
                </c:pt>
                <c:pt idx="52">
                  <c:v>5764</c:v>
                </c:pt>
                <c:pt idx="53">
                  <c:v>5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</c:v>
                </c:pt>
                <c:pt idx="43">
                  <c:v>4000.7649631137338</c:v>
                </c:pt>
                <c:pt idx="44">
                  <c:v>4126.3636197642336</c:v>
                </c:pt>
                <c:pt idx="45">
                  <c:v>4246.8519586359671</c:v>
                </c:pt>
                <c:pt idx="46">
                  <c:v>4357.7449058198672</c:v>
                </c:pt>
                <c:pt idx="47">
                  <c:v>4461.179832518581</c:v>
                </c:pt>
                <c:pt idx="48">
                  <c:v>4561.4503701634721</c:v>
                </c:pt>
                <c:pt idx="49">
                  <c:v>4660.4655418011025</c:v>
                </c:pt>
                <c:pt idx="50">
                  <c:v>4757.6593438429763</c:v>
                </c:pt>
                <c:pt idx="51">
                  <c:v>4858.1037055510278</c:v>
                </c:pt>
                <c:pt idx="52">
                  <c:v>4955.2698137298612</c:v>
                </c:pt>
                <c:pt idx="53">
                  <c:v>5037.8517188676751</c:v>
                </c:pt>
                <c:pt idx="54">
                  <c:v>5112.8062867582785</c:v>
                </c:pt>
                <c:pt idx="55">
                  <c:v>5184.8357063969961</c:v>
                </c:pt>
                <c:pt idx="56">
                  <c:v>5255.5396750814834</c:v>
                </c:pt>
                <c:pt idx="57">
                  <c:v>5325.5986736883851</c:v>
                </c:pt>
                <c:pt idx="58">
                  <c:v>5394.5302687169533</c:v>
                </c:pt>
                <c:pt idx="59">
                  <c:v>5461.5112579097095</c:v>
                </c:pt>
                <c:pt idx="60">
                  <c:v>5523.1067654692461</c:v>
                </c:pt>
                <c:pt idx="61">
                  <c:v>5579.9682808836278</c:v>
                </c:pt>
                <c:pt idx="62">
                  <c:v>5632.7848342359166</c:v>
                </c:pt>
                <c:pt idx="63">
                  <c:v>5681.9344968879614</c:v>
                </c:pt>
                <c:pt idx="64">
                  <c:v>5726.9117901050677</c:v>
                </c:pt>
                <c:pt idx="65">
                  <c:v>5768.6191703553777</c:v>
                </c:pt>
                <c:pt idx="66">
                  <c:v>5806.3310357463051</c:v>
                </c:pt>
                <c:pt idx="67">
                  <c:v>5840.2229265257074</c:v>
                </c:pt>
                <c:pt idx="68">
                  <c:v>5868.9282885581724</c:v>
                </c:pt>
                <c:pt idx="69">
                  <c:v>5893.066540476213</c:v>
                </c:pt>
                <c:pt idx="70">
                  <c:v>5913.18323794346</c:v>
                </c:pt>
                <c:pt idx="71">
                  <c:v>5927.2707698645754</c:v>
                </c:pt>
                <c:pt idx="72">
                  <c:v>5936.7406334869074</c:v>
                </c:pt>
                <c:pt idx="73">
                  <c:v>5941.7682210099574</c:v>
                </c:pt>
                <c:pt idx="74">
                  <c:v>5941.4840299436837</c:v>
                </c:pt>
                <c:pt idx="75">
                  <c:v>5936.1953895340221</c:v>
                </c:pt>
                <c:pt idx="76">
                  <c:v>5926.0593653684855</c:v>
                </c:pt>
                <c:pt idx="77">
                  <c:v>5911.4925302807624</c:v>
                </c:pt>
                <c:pt idx="78">
                  <c:v>5891.1145246271153</c:v>
                </c:pt>
                <c:pt idx="79">
                  <c:v>5866.1678405466046</c:v>
                </c:pt>
                <c:pt idx="80">
                  <c:v>5836.6640093508622</c:v>
                </c:pt>
                <c:pt idx="81">
                  <c:v>5801.8842766630696</c:v>
                </c:pt>
                <c:pt idx="82">
                  <c:v>5762.0073052004482</c:v>
                </c:pt>
                <c:pt idx="83">
                  <c:v>5718.2310743467169</c:v>
                </c:pt>
                <c:pt idx="84">
                  <c:v>5670.123792015087</c:v>
                </c:pt>
                <c:pt idx="85">
                  <c:v>5616.8306867096635</c:v>
                </c:pt>
                <c:pt idx="86">
                  <c:v>5560.4493417457861</c:v>
                </c:pt>
                <c:pt idx="87">
                  <c:v>5500.5212514270279</c:v>
                </c:pt>
                <c:pt idx="88">
                  <c:v>5434.9249047022322</c:v>
                </c:pt>
                <c:pt idx="89">
                  <c:v>5366.4713539503809</c:v>
                </c:pt>
                <c:pt idx="90">
                  <c:v>5295.1997817793699</c:v>
                </c:pt>
                <c:pt idx="91">
                  <c:v>5220.5883678919126</c:v>
                </c:pt>
                <c:pt idx="92">
                  <c:v>5141.6385683384124</c:v>
                </c:pt>
                <c:pt idx="93">
                  <c:v>5059.7844572957147</c:v>
                </c:pt>
                <c:pt idx="94">
                  <c:v>4975.6441177210781</c:v>
                </c:pt>
                <c:pt idx="95">
                  <c:v>4888.9152696888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86</c:v>
                </c:pt>
                <c:pt idx="43">
                  <c:v>4021.8651703173614</c:v>
                </c:pt>
                <c:pt idx="44">
                  <c:v>4163.0571947267417</c:v>
                </c:pt>
                <c:pt idx="45">
                  <c:v>4302.6712117083389</c:v>
                </c:pt>
                <c:pt idx="46">
                  <c:v>4436.3983667800385</c:v>
                </c:pt>
                <c:pt idx="47">
                  <c:v>4566.3664649222874</c:v>
                </c:pt>
                <c:pt idx="48">
                  <c:v>4696.9225458938072</c:v>
                </c:pt>
                <c:pt idx="49">
                  <c:v>4829.8886898653491</c:v>
                </c:pt>
                <c:pt idx="50">
                  <c:v>4964.6851723175714</c:v>
                </c:pt>
                <c:pt idx="51">
                  <c:v>5106.2691649077642</c:v>
                </c:pt>
                <c:pt idx="52">
                  <c:v>5248.0490617810719</c:v>
                </c:pt>
                <c:pt idx="53">
                  <c:v>5378.5801272190902</c:v>
                </c:pt>
                <c:pt idx="54">
                  <c:v>5504.7041800399757</c:v>
                </c:pt>
                <c:pt idx="55">
                  <c:v>5630.9313152074337</c:v>
                </c:pt>
                <c:pt idx="56">
                  <c:v>5758.5854770970136</c:v>
                </c:pt>
                <c:pt idx="57">
                  <c:v>5887.8355049395104</c:v>
                </c:pt>
                <c:pt idx="58">
                  <c:v>6018.036375473841</c:v>
                </c:pt>
                <c:pt idx="59">
                  <c:v>6148.1174291578536</c:v>
                </c:pt>
                <c:pt idx="60">
                  <c:v>6274.4753812746849</c:v>
                </c:pt>
                <c:pt idx="61">
                  <c:v>6397.4250467610218</c:v>
                </c:pt>
                <c:pt idx="62">
                  <c:v>6517.4063018172365</c:v>
                </c:pt>
                <c:pt idx="63">
                  <c:v>6634.4979616464316</c:v>
                </c:pt>
                <c:pt idx="64">
                  <c:v>6747.838125825444</c:v>
                </c:pt>
                <c:pt idx="65">
                  <c:v>6858.0152150647618</c:v>
                </c:pt>
                <c:pt idx="66">
                  <c:v>6964.0475227458228</c:v>
                </c:pt>
                <c:pt idx="67">
                  <c:v>7065.8127870876524</c:v>
                </c:pt>
                <c:pt idx="68">
                  <c:v>7161.6785672445494</c:v>
                </c:pt>
                <c:pt idx="69">
                  <c:v>7251.9875202189996</c:v>
                </c:pt>
                <c:pt idx="70">
                  <c:v>7336.997413029294</c:v>
                </c:pt>
                <c:pt idx="71">
                  <c:v>7414.4261695508612</c:v>
                </c:pt>
                <c:pt idx="72">
                  <c:v>7485.402072432893</c:v>
                </c:pt>
                <c:pt idx="73">
                  <c:v>7549.8552017784705</c:v>
                </c:pt>
                <c:pt idx="74">
                  <c:v>7606.6812658407434</c:v>
                </c:pt>
                <c:pt idx="75">
                  <c:v>7655.9601133157557</c:v>
                </c:pt>
                <c:pt idx="76">
                  <c:v>7697.6356567036773</c:v>
                </c:pt>
                <c:pt idx="77">
                  <c:v>7731.9422521323904</c:v>
                </c:pt>
                <c:pt idx="78">
                  <c:v>7757.3172289474405</c:v>
                </c:pt>
                <c:pt idx="79">
                  <c:v>7774.8523594207963</c:v>
                </c:pt>
                <c:pt idx="80">
                  <c:v>7784.4222024789406</c:v>
                </c:pt>
                <c:pt idx="81">
                  <c:v>7785.1904771195768</c:v>
                </c:pt>
                <c:pt idx="82">
                  <c:v>7777.230369139661</c:v>
                </c:pt>
                <c:pt idx="83">
                  <c:v>7761.6674912508697</c:v>
                </c:pt>
                <c:pt idx="84">
                  <c:v>7738.0130518590759</c:v>
                </c:pt>
                <c:pt idx="85">
                  <c:v>7705.3756244397227</c:v>
                </c:pt>
                <c:pt idx="86">
                  <c:v>7665.8362387460729</c:v>
                </c:pt>
                <c:pt idx="87">
                  <c:v>7618.93913822186</c:v>
                </c:pt>
                <c:pt idx="88">
                  <c:v>7562.576330895683</c:v>
                </c:pt>
                <c:pt idx="89">
                  <c:v>7499.603342788907</c:v>
                </c:pt>
                <c:pt idx="90">
                  <c:v>7430.108073805879</c:v>
                </c:pt>
                <c:pt idx="91">
                  <c:v>7353.6387736028446</c:v>
                </c:pt>
                <c:pt idx="92">
                  <c:v>7269.1761846328591</c:v>
                </c:pt>
                <c:pt idx="93">
                  <c:v>7178.32511690503</c:v>
                </c:pt>
                <c:pt idx="94">
                  <c:v>7081.8141108436239</c:v>
                </c:pt>
                <c:pt idx="95">
                  <c:v>6979.4634720415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77</c:v>
                </c:pt>
                <c:pt idx="43">
                  <c:v>4043.1687347470593</c:v>
                </c:pt>
                <c:pt idx="44">
                  <c:v>4200.247000044802</c:v>
                </c:pt>
                <c:pt idx="45">
                  <c:v>4359.4916428298729</c:v>
                </c:pt>
                <c:pt idx="46">
                  <c:v>4516.8426085193487</c:v>
                </c:pt>
                <c:pt idx="47">
                  <c:v>4674.4950136332491</c:v>
                </c:pt>
                <c:pt idx="48">
                  <c:v>4836.9296358195479</c:v>
                </c:pt>
                <c:pt idx="49">
                  <c:v>5005.9629248299825</c:v>
                </c:pt>
                <c:pt idx="50">
                  <c:v>5181.0823628909475</c:v>
                </c:pt>
                <c:pt idx="51">
                  <c:v>5367.2087561997469</c:v>
                </c:pt>
                <c:pt idx="52">
                  <c:v>5557.7622339853688</c:v>
                </c:pt>
                <c:pt idx="53">
                  <c:v>5741.227412579783</c:v>
                </c:pt>
                <c:pt idx="54">
                  <c:v>5924.3916908957699</c:v>
                </c:pt>
                <c:pt idx="55">
                  <c:v>6111.6242528419043</c:v>
                </c:pt>
                <c:pt idx="56">
                  <c:v>6304.0139361848633</c:v>
                </c:pt>
                <c:pt idx="57">
                  <c:v>6501.2446122618294</c:v>
                </c:pt>
                <c:pt idx="58">
                  <c:v>6702.5228306654772</c:v>
                </c:pt>
                <c:pt idx="59">
                  <c:v>6906.5301863113746</c:v>
                </c:pt>
                <c:pt idx="60">
                  <c:v>7109.479172611389</c:v>
                </c:pt>
                <c:pt idx="61">
                  <c:v>7311.3153925703809</c:v>
                </c:pt>
                <c:pt idx="62">
                  <c:v>7512.1806540221514</c:v>
                </c:pt>
                <c:pt idx="63">
                  <c:v>7711.7892970140001</c:v>
                </c:pt>
                <c:pt idx="64">
                  <c:v>7908.8414601342884</c:v>
                </c:pt>
                <c:pt idx="65">
                  <c:v>8103.5161819879349</c:v>
                </c:pt>
                <c:pt idx="66">
                  <c:v>8294.4674585003868</c:v>
                </c:pt>
                <c:pt idx="67">
                  <c:v>8481.1526524327146</c:v>
                </c:pt>
                <c:pt idx="68">
                  <c:v>8661.538570367833</c:v>
                </c:pt>
                <c:pt idx="69">
                  <c:v>8835.5454934832705</c:v>
                </c:pt>
                <c:pt idx="70">
                  <c:v>9002.9890621874656</c:v>
                </c:pt>
                <c:pt idx="71">
                  <c:v>9161.1516483523119</c:v>
                </c:pt>
                <c:pt idx="72">
                  <c:v>9310.7132913458499</c:v>
                </c:pt>
                <c:pt idx="73">
                  <c:v>9451.191907189479</c:v>
                </c:pt>
                <c:pt idx="74">
                  <c:v>9581.0814534073234</c:v>
                </c:pt>
                <c:pt idx="75">
                  <c:v>9700.0694388859665</c:v>
                </c:pt>
                <c:pt idx="76">
                  <c:v>9807.7261848728922</c:v>
                </c:pt>
                <c:pt idx="77">
                  <c:v>9903.950113379924</c:v>
                </c:pt>
                <c:pt idx="78">
                  <c:v>9986.8513187595836</c:v>
                </c:pt>
                <c:pt idx="79">
                  <c:v>10057.236771960848</c:v>
                </c:pt>
                <c:pt idx="80">
                  <c:v>10114.722469341128</c:v>
                </c:pt>
                <c:pt idx="81">
                  <c:v>10158.247083233069</c:v>
                </c:pt>
                <c:pt idx="82">
                  <c:v>10187.686256884104</c:v>
                </c:pt>
                <c:pt idx="83">
                  <c:v>10204.017835551909</c:v>
                </c:pt>
                <c:pt idx="84">
                  <c:v>10206.638131698182</c:v>
                </c:pt>
                <c:pt idx="85">
                  <c:v>10194.579248587939</c:v>
                </c:pt>
                <c:pt idx="86">
                  <c:v>10169.884223290053</c:v>
                </c:pt>
                <c:pt idx="87">
                  <c:v>10132.096963673481</c:v>
                </c:pt>
                <c:pt idx="88">
                  <c:v>10079.137980044037</c:v>
                </c:pt>
                <c:pt idx="89">
                  <c:v>10013.939924979446</c:v>
                </c:pt>
                <c:pt idx="90">
                  <c:v>9936.6889466502053</c:v>
                </c:pt>
                <c:pt idx="91">
                  <c:v>9847.0688784891008</c:v>
                </c:pt>
                <c:pt idx="92">
                  <c:v>9744.119440610757</c:v>
                </c:pt>
                <c:pt idx="93">
                  <c:v>9629.709654960463</c:v>
                </c:pt>
                <c:pt idx="94">
                  <c:v>9504.7837788229663</c:v>
                </c:pt>
                <c:pt idx="95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0</c:v>
                </c:pt>
                <c:pt idx="44">
                  <c:v>599</c:v>
                </c:pt>
                <c:pt idx="45">
                  <c:v>643</c:v>
                </c:pt>
                <c:pt idx="46">
                  <c:v>650</c:v>
                </c:pt>
                <c:pt idx="47">
                  <c:v>690</c:v>
                </c:pt>
                <c:pt idx="48">
                  <c:v>715</c:v>
                </c:pt>
                <c:pt idx="49">
                  <c:v>735</c:v>
                </c:pt>
                <c:pt idx="50">
                  <c:v>738</c:v>
                </c:pt>
                <c:pt idx="51">
                  <c:v>768</c:v>
                </c:pt>
                <c:pt idx="52">
                  <c:v>800</c:v>
                </c:pt>
                <c:pt idx="53">
                  <c:v>8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5</c:v>
                </c:pt>
                <c:pt idx="52">
                  <c:v>784.57780034781422</c:v>
                </c:pt>
                <c:pt idx="53">
                  <c:v>805.25814425479882</c:v>
                </c:pt>
                <c:pt idx="54">
                  <c:v>824.18597696438064</c:v>
                </c:pt>
                <c:pt idx="55">
                  <c:v>842.13561239532055</c:v>
                </c:pt>
                <c:pt idx="56">
                  <c:v>859.80376950117602</c:v>
                </c:pt>
                <c:pt idx="57">
                  <c:v>876.34694612299461</c:v>
                </c:pt>
                <c:pt idx="58">
                  <c:v>891.94882551208593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92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24</c:v>
                </c:pt>
                <c:pt idx="95">
                  <c:v>864.23301392715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72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96</c:v>
                </c:pt>
                <c:pt idx="52">
                  <c:v>826.42985741506766</c:v>
                </c:pt>
                <c:pt idx="53">
                  <c:v>854.58263757347913</c:v>
                </c:pt>
                <c:pt idx="54">
                  <c:v>881.58054805199379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34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59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5</c:v>
                </c:pt>
                <c:pt idx="73">
                  <c:v>1601.9234507262049</c:v>
                </c:pt>
                <c:pt idx="74">
                  <c:v>1627.3136564510232</c:v>
                </c:pt>
                <c:pt idx="75">
                  <c:v>1650.9782259636631</c:v>
                </c:pt>
                <c:pt idx="76">
                  <c:v>1672.8158770640275</c:v>
                </c:pt>
                <c:pt idx="77">
                  <c:v>1692.72008670428</c:v>
                </c:pt>
                <c:pt idx="78">
                  <c:v>1710.551876577591</c:v>
                </c:pt>
                <c:pt idx="79">
                  <c:v>1726.1949688739619</c:v>
                </c:pt>
                <c:pt idx="80">
                  <c:v>1739.6232706404066</c:v>
                </c:pt>
                <c:pt idx="81">
                  <c:v>1750.788933117534</c:v>
                </c:pt>
                <c:pt idx="82">
                  <c:v>1759.6370090297044</c:v>
                </c:pt>
                <c:pt idx="83">
                  <c:v>1766.1139568243145</c:v>
                </c:pt>
                <c:pt idx="84">
                  <c:v>1770.2019250764156</c:v>
                </c:pt>
                <c:pt idx="85">
                  <c:v>1771.8910267806195</c:v>
                </c:pt>
                <c:pt idx="86">
                  <c:v>1771.1825775644397</c:v>
                </c:pt>
                <c:pt idx="87">
                  <c:v>1768.0840056424859</c:v>
                </c:pt>
                <c:pt idx="88">
                  <c:v>1762.6204862582395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7</c:v>
                </c:pt>
                <c:pt idx="93">
                  <c:v>1701.2975179488431</c:v>
                </c:pt>
                <c:pt idx="94">
                  <c:v>1682.6791354108341</c:v>
                </c:pt>
                <c:pt idx="95">
                  <c:v>1662.133053598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5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5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8383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535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02935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638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7410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3811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185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8099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1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2984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07191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933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555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24743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3999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4209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763272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786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81286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0562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27948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8188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097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051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19750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chart" Target="../charts/chart2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5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356513"/>
              </p:ext>
            </p:extLst>
          </p:nvPr>
        </p:nvGraphicFramePr>
        <p:xfrm>
          <a:off x="1455230" y="1534032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 81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5.11.2021 0:3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3259087"/>
              </p:ext>
            </p:extLst>
          </p:nvPr>
        </p:nvGraphicFramePr>
        <p:xfrm>
          <a:off x="7905494" y="3328749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7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3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,4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578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7038"/>
              </p:ext>
            </p:extLst>
          </p:nvPr>
        </p:nvGraphicFramePr>
        <p:xfrm>
          <a:off x="359022" y="963978"/>
          <a:ext cx="11405086" cy="4752339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222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690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419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naha zachovat co nejvyšší elektivní provoz. Situace se ale dále zhoršuje hlavně stran zátěže standardních oddělení, kde nutno postupně navyšovat kapacity. Přesah do IP, která již s kapacitním navýšením na úkor ostatní péče, zatím lokálně zvladatelný.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968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222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4467757"/>
              </p:ext>
            </p:extLst>
          </p:nvPr>
        </p:nvGraphicFramePr>
        <p:xfrm>
          <a:off x="332644" y="881602"/>
          <a:ext cx="11587543" cy="568689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4416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7005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 k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161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.11.21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omezená cca 40-50%, situace se denně mění, hrozí další restrikce elektivní péče a pouze akutní provoz, začíná být velký problém nedostatek kvalifikovaného personálu v IP (lékaři i NLZP)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827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0 pacientů denně, dochází k navýšení počtu pacientů jdoucích rovnou z terénu na JIP – v minulém týdnu cca 1hosp/denně, nyní 3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dsp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d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ušice, Stod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i absenci nouzového stavu a hromadného postižení osob nelze dobře rekrutovat pomocnou sílu do nemocnic a mnohem více zohledňovat edukaci a počet zdravotníků s ohledem na „normální“ provozní podmínk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  <a:tr h="7676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Město n/M) 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7195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2616601"/>
              </p:ext>
            </p:extLst>
          </p:nvPr>
        </p:nvGraphicFramePr>
        <p:xfrm>
          <a:off x="359021" y="849024"/>
          <a:ext cx="11519385" cy="5306227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48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625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-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 Před ev. omezením elektivní péče budeme informova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0019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11.21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584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.1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 posledních dnech překlady pac. IP mezi ZZ v rámci kraje zejména z Kolínska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roti jarní vlně epidemie je zde dalším faktorem vyhoření zdravotníků generující další problémy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 menších ZZ je jakákoli transformace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ku spojená s omezením jiné péče.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30189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.11.21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vyčerpány lidské i materiální zdroje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lišná situace v různých okresech – nejhorší v Blansku a Vyškově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ak předvídají prognózy, při setrvalém trendu vyčerpáme kapacitu si navzájem v kraji pomoci, a to hlavně u nejtěžších nemocných (JIP a UPV), do několika málo dní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978670"/>
              </p:ext>
            </p:extLst>
          </p:nvPr>
        </p:nvGraphicFramePr>
        <p:xfrm>
          <a:off x="337698" y="706833"/>
          <a:ext cx="11435203" cy="596353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240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nárůst C19 hospitalizací, výrazněji standard než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skytují péči ve výrazně </a:t>
                      </a: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optimálním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sonálním zajištění (zejména NLZP), pro další rozšíření péče je klíčové personální posíl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mitovaně</a:t>
                      </a: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lze zajistit v redistribucí v rámci nemocnic, s předpokladem dalšího nárůstu počtů pacientů je potřeba i externího posílení alespoň pomocným personálem (AČR, HZS, studenti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bez významných změn, nadále vážná, ale zvladatelná v rámci kraje.</a:t>
                      </a:r>
                      <a:endParaRPr lang="cs-CZ" sz="13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Také dochází k navýšení počtu pacientů jdoucích rovnou z terénu. 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70 PN, z toho 40 pro COVID). Řada nemocnic diskutuje o HPO. Při absenci nouzového stavu a hromadného postižení osob nelze dobře rekrutovat pomocnou sílu do nemocnic, žádáme razantní omezení sociálních kontaktů všemi opatřením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Mezikrajové překlady pacientů </a:t>
            </a: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914400" y="2083775"/>
            <a:ext cx="74822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000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HM - Kyjovská nemocnice rozhodla o aktivaci HPO</a:t>
            </a:r>
          </a:p>
          <a:p>
            <a:r>
              <a:rPr lang="cs-CZ" sz="2000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 FN Brno omezuje ambulantní péči – nedostatek personálu</a:t>
            </a:r>
          </a:p>
          <a:p>
            <a:endParaRPr lang="cs-CZ" sz="2000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2000" dirty="0"/>
          </a:p>
        </p:txBody>
      </p:sp>
    </p:spTree>
    <p:extLst>
      <p:ext uri="{BB962C8B-B14F-4D97-AF65-F5344CB8AC3E}">
        <p14:creationId xmlns:p14="http://schemas.microsoft.com/office/powerpoint/2010/main" val="4107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5.11.2021 00:34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837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5424"/>
              </p:ext>
            </p:extLst>
          </p:nvPr>
        </p:nvGraphicFramePr>
        <p:xfrm>
          <a:off x="394364" y="1032746"/>
          <a:ext cx="8776014" cy="5317321"/>
        </p:xfrm>
        <a:graphic>
          <a:graphicData uri="http://schemas.openxmlformats.org/drawingml/2006/table">
            <a:tbl>
              <a:tblPr/>
              <a:tblGrid>
                <a:gridCol w="1909806">
                  <a:extLst>
                    <a:ext uri="{9D8B030D-6E8A-4147-A177-3AD203B41FA5}">
                      <a16:colId xmlns:a16="http://schemas.microsoft.com/office/drawing/2014/main" val="1714764693"/>
                    </a:ext>
                  </a:extLst>
                </a:gridCol>
                <a:gridCol w="1169270">
                  <a:extLst>
                    <a:ext uri="{9D8B030D-6E8A-4147-A177-3AD203B41FA5}">
                      <a16:colId xmlns:a16="http://schemas.microsoft.com/office/drawing/2014/main" val="546887402"/>
                    </a:ext>
                  </a:extLst>
                </a:gridCol>
                <a:gridCol w="1081574">
                  <a:extLst>
                    <a:ext uri="{9D8B030D-6E8A-4147-A177-3AD203B41FA5}">
                      <a16:colId xmlns:a16="http://schemas.microsoft.com/office/drawing/2014/main" val="3006601958"/>
                    </a:ext>
                  </a:extLst>
                </a:gridCol>
                <a:gridCol w="1078326">
                  <a:extLst>
                    <a:ext uri="{9D8B030D-6E8A-4147-A177-3AD203B41FA5}">
                      <a16:colId xmlns:a16="http://schemas.microsoft.com/office/drawing/2014/main" val="1377577203"/>
                    </a:ext>
                  </a:extLst>
                </a:gridCol>
                <a:gridCol w="1117301">
                  <a:extLst>
                    <a:ext uri="{9D8B030D-6E8A-4147-A177-3AD203B41FA5}">
                      <a16:colId xmlns:a16="http://schemas.microsoft.com/office/drawing/2014/main" val="2281601839"/>
                    </a:ext>
                  </a:extLst>
                </a:gridCol>
                <a:gridCol w="1120549">
                  <a:extLst>
                    <a:ext uri="{9D8B030D-6E8A-4147-A177-3AD203B41FA5}">
                      <a16:colId xmlns:a16="http://schemas.microsoft.com/office/drawing/2014/main" val="1629266194"/>
                    </a:ext>
                  </a:extLst>
                </a:gridCol>
                <a:gridCol w="1299188">
                  <a:extLst>
                    <a:ext uri="{9D8B030D-6E8A-4147-A177-3AD203B41FA5}">
                      <a16:colId xmlns:a16="http://schemas.microsoft.com/office/drawing/2014/main" val="2738620331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6765211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5.11. 2021, 11:0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4468907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449479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3928207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795744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990644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876603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893607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3290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22709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223424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0559682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585217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355771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418678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651156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759504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9856680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0100670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0900193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496238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31523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5130990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4541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0069735"/>
              </p:ext>
            </p:extLst>
          </p:nvPr>
        </p:nvGraphicFramePr>
        <p:xfrm>
          <a:off x="332819" y="1025523"/>
          <a:ext cx="8811181" cy="5322322"/>
        </p:xfrm>
        <a:graphic>
          <a:graphicData uri="http://schemas.openxmlformats.org/drawingml/2006/table">
            <a:tbl>
              <a:tblPr/>
              <a:tblGrid>
                <a:gridCol w="1917459">
                  <a:extLst>
                    <a:ext uri="{9D8B030D-6E8A-4147-A177-3AD203B41FA5}">
                      <a16:colId xmlns:a16="http://schemas.microsoft.com/office/drawing/2014/main" val="1814619849"/>
                    </a:ext>
                  </a:extLst>
                </a:gridCol>
                <a:gridCol w="1173955">
                  <a:extLst>
                    <a:ext uri="{9D8B030D-6E8A-4147-A177-3AD203B41FA5}">
                      <a16:colId xmlns:a16="http://schemas.microsoft.com/office/drawing/2014/main" val="2022938808"/>
                    </a:ext>
                  </a:extLst>
                </a:gridCol>
                <a:gridCol w="1085908">
                  <a:extLst>
                    <a:ext uri="{9D8B030D-6E8A-4147-A177-3AD203B41FA5}">
                      <a16:colId xmlns:a16="http://schemas.microsoft.com/office/drawing/2014/main" val="1217956551"/>
                    </a:ext>
                  </a:extLst>
                </a:gridCol>
                <a:gridCol w="1082647">
                  <a:extLst>
                    <a:ext uri="{9D8B030D-6E8A-4147-A177-3AD203B41FA5}">
                      <a16:colId xmlns:a16="http://schemas.microsoft.com/office/drawing/2014/main" val="244249861"/>
                    </a:ext>
                  </a:extLst>
                </a:gridCol>
                <a:gridCol w="1121779">
                  <a:extLst>
                    <a:ext uri="{9D8B030D-6E8A-4147-A177-3AD203B41FA5}">
                      <a16:colId xmlns:a16="http://schemas.microsoft.com/office/drawing/2014/main" val="4128551929"/>
                    </a:ext>
                  </a:extLst>
                </a:gridCol>
                <a:gridCol w="1125040">
                  <a:extLst>
                    <a:ext uri="{9D8B030D-6E8A-4147-A177-3AD203B41FA5}">
                      <a16:colId xmlns:a16="http://schemas.microsoft.com/office/drawing/2014/main" val="2984814481"/>
                    </a:ext>
                  </a:extLst>
                </a:gridCol>
                <a:gridCol w="1304393">
                  <a:extLst>
                    <a:ext uri="{9D8B030D-6E8A-4147-A177-3AD203B41FA5}">
                      <a16:colId xmlns:a16="http://schemas.microsoft.com/office/drawing/2014/main" val="1759267064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614224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5.11. 2021, 11:0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542458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7227825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5866174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108496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732101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933061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103933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61170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676032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239570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09965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096672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297207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16655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74059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741439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374342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627780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34519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1917035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3399361"/>
                  </a:ext>
                </a:extLst>
              </a:tr>
              <a:tr h="7543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5404953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8054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5.11.2021 00:34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 049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2049356"/>
              </p:ext>
            </p:extLst>
          </p:nvPr>
        </p:nvGraphicFramePr>
        <p:xfrm>
          <a:off x="270564" y="1014180"/>
          <a:ext cx="8688797" cy="5303976"/>
        </p:xfrm>
        <a:graphic>
          <a:graphicData uri="http://schemas.openxmlformats.org/drawingml/2006/table">
            <a:tbl>
              <a:tblPr/>
              <a:tblGrid>
                <a:gridCol w="1853778">
                  <a:extLst>
                    <a:ext uri="{9D8B030D-6E8A-4147-A177-3AD203B41FA5}">
                      <a16:colId xmlns:a16="http://schemas.microsoft.com/office/drawing/2014/main" val="2074916930"/>
                    </a:ext>
                  </a:extLst>
                </a:gridCol>
                <a:gridCol w="1134966">
                  <a:extLst>
                    <a:ext uri="{9D8B030D-6E8A-4147-A177-3AD203B41FA5}">
                      <a16:colId xmlns:a16="http://schemas.microsoft.com/office/drawing/2014/main" val="3222032081"/>
                    </a:ext>
                  </a:extLst>
                </a:gridCol>
                <a:gridCol w="1049843">
                  <a:extLst>
                    <a:ext uri="{9D8B030D-6E8A-4147-A177-3AD203B41FA5}">
                      <a16:colId xmlns:a16="http://schemas.microsoft.com/office/drawing/2014/main" val="3955389205"/>
                    </a:ext>
                  </a:extLst>
                </a:gridCol>
                <a:gridCol w="1046691">
                  <a:extLst>
                    <a:ext uri="{9D8B030D-6E8A-4147-A177-3AD203B41FA5}">
                      <a16:colId xmlns:a16="http://schemas.microsoft.com/office/drawing/2014/main" val="65665859"/>
                    </a:ext>
                  </a:extLst>
                </a:gridCol>
                <a:gridCol w="1084524">
                  <a:extLst>
                    <a:ext uri="{9D8B030D-6E8A-4147-A177-3AD203B41FA5}">
                      <a16:colId xmlns:a16="http://schemas.microsoft.com/office/drawing/2014/main" val="1943575254"/>
                    </a:ext>
                  </a:extLst>
                </a:gridCol>
                <a:gridCol w="1261074">
                  <a:extLst>
                    <a:ext uri="{9D8B030D-6E8A-4147-A177-3AD203B41FA5}">
                      <a16:colId xmlns:a16="http://schemas.microsoft.com/office/drawing/2014/main" val="2956915237"/>
                    </a:ext>
                  </a:extLst>
                </a:gridCol>
                <a:gridCol w="1257921">
                  <a:extLst>
                    <a:ext uri="{9D8B030D-6E8A-4147-A177-3AD203B41FA5}">
                      <a16:colId xmlns:a16="http://schemas.microsoft.com/office/drawing/2014/main" val="755638057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4953718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5.11. 2021, 11:0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1252585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361810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7624112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86025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426379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4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40086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0852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77797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548303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74975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52165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20716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486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581897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12977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27160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86550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415551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940099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540199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2442283"/>
                  </a:ext>
                </a:extLst>
              </a:tr>
              <a:tr h="3442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988603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61991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Mezikrajové překlady pacientů </a:t>
            </a: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332819" y="1538653"/>
            <a:ext cx="9885238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/>
              <a:t>25.11. Na žádost </a:t>
            </a:r>
            <a:r>
              <a:rPr lang="cs-CZ" sz="2000" dirty="0">
                <a:solidFill>
                  <a:srgbClr val="000000"/>
                </a:solidFill>
              </a:rPr>
              <a:t>KKIP JHM prof. </a:t>
            </a:r>
            <a:r>
              <a:rPr lang="cs-CZ" sz="2000" dirty="0" smtClean="0">
                <a:solidFill>
                  <a:srgbClr val="000000"/>
                </a:solidFill>
              </a:rPr>
              <a:t>Šrámek zorganizován hromadný transport pacientů:</a:t>
            </a:r>
          </a:p>
          <a:p>
            <a:endParaRPr lang="cs-CZ" sz="2000" dirty="0">
              <a:solidFill>
                <a:srgbClr val="000000"/>
              </a:solidFill>
            </a:endParaRPr>
          </a:p>
          <a:p>
            <a:r>
              <a:rPr lang="cs-CZ" sz="2000" dirty="0">
                <a:solidFill>
                  <a:srgbClr val="000000"/>
                </a:solidFill>
              </a:rPr>
              <a:t>	</a:t>
            </a:r>
            <a:r>
              <a:rPr lang="cs-CZ" sz="2000" dirty="0" smtClean="0">
                <a:solidFill>
                  <a:srgbClr val="000000"/>
                </a:solidFill>
              </a:rPr>
              <a:t>10 pacientů s O</a:t>
            </a:r>
            <a:r>
              <a:rPr lang="cs-CZ" sz="2000" baseline="-25000" dirty="0" smtClean="0">
                <a:solidFill>
                  <a:srgbClr val="000000"/>
                </a:solidFill>
              </a:rPr>
              <a:t>2</a:t>
            </a:r>
            <a:r>
              <a:rPr lang="cs-CZ" sz="2000" dirty="0" smtClean="0">
                <a:solidFill>
                  <a:srgbClr val="000000"/>
                </a:solidFill>
              </a:rPr>
              <a:t> přepraveno </a:t>
            </a:r>
            <a:r>
              <a:rPr lang="cs-CZ" sz="2000" dirty="0"/>
              <a:t>Mercedes </a:t>
            </a:r>
            <a:r>
              <a:rPr lang="cs-CZ" sz="2000" dirty="0" err="1"/>
              <a:t>Benz</a:t>
            </a:r>
            <a:r>
              <a:rPr lang="cs-CZ" sz="2000" dirty="0"/>
              <a:t> </a:t>
            </a:r>
            <a:r>
              <a:rPr lang="cs-CZ" sz="2000" dirty="0" err="1"/>
              <a:t>Atego</a:t>
            </a:r>
            <a:r>
              <a:rPr lang="cs-CZ" sz="2000" dirty="0"/>
              <a:t> </a:t>
            </a:r>
            <a:r>
              <a:rPr lang="cs-CZ" sz="2000" dirty="0" smtClean="0"/>
              <a:t>–</a:t>
            </a:r>
            <a:r>
              <a:rPr lang="cs-CZ" sz="2000" b="1" dirty="0" smtClean="0"/>
              <a:t> </a:t>
            </a:r>
            <a:r>
              <a:rPr lang="cs-CZ" sz="2000" b="1" dirty="0" smtClean="0"/>
              <a:t>Fénix </a:t>
            </a:r>
            <a:r>
              <a:rPr lang="cs-CZ" sz="2000" dirty="0" smtClean="0"/>
              <a:t>ZZS HMP</a:t>
            </a:r>
            <a:endParaRPr lang="cs-CZ" sz="2000" dirty="0"/>
          </a:p>
          <a:p>
            <a:r>
              <a:rPr lang="cs-CZ" sz="2000" baseline="-25000" dirty="0">
                <a:solidFill>
                  <a:srgbClr val="000000"/>
                </a:solidFill>
              </a:rPr>
              <a:t>	</a:t>
            </a:r>
            <a:r>
              <a:rPr lang="cs-CZ" sz="2000" dirty="0" smtClean="0">
                <a:solidFill>
                  <a:srgbClr val="000000"/>
                </a:solidFill>
              </a:rPr>
              <a:t>  5 </a:t>
            </a:r>
            <a:r>
              <a:rPr lang="cs-CZ" sz="2000" dirty="0">
                <a:solidFill>
                  <a:srgbClr val="000000"/>
                </a:solidFill>
              </a:rPr>
              <a:t>pacientů s </a:t>
            </a:r>
            <a:r>
              <a:rPr lang="cs-CZ" sz="2000" dirty="0" smtClean="0">
                <a:solidFill>
                  <a:srgbClr val="000000"/>
                </a:solidFill>
              </a:rPr>
              <a:t>O</a:t>
            </a:r>
            <a:r>
              <a:rPr lang="cs-CZ" sz="2000" baseline="-25000" dirty="0" smtClean="0">
                <a:solidFill>
                  <a:srgbClr val="000000"/>
                </a:solidFill>
              </a:rPr>
              <a:t>2</a:t>
            </a:r>
            <a:r>
              <a:rPr lang="cs-CZ" sz="2000" dirty="0" smtClean="0">
                <a:solidFill>
                  <a:srgbClr val="000000"/>
                </a:solidFill>
              </a:rPr>
              <a:t> dalšími vozy ZZS HMP</a:t>
            </a:r>
          </a:p>
          <a:p>
            <a:r>
              <a:rPr lang="cs-CZ" sz="2000" dirty="0" smtClean="0">
                <a:solidFill>
                  <a:srgbClr val="000000"/>
                </a:solidFill>
              </a:rPr>
              <a:t>	  2 pacienti s UPV přepraveni </a:t>
            </a:r>
            <a:r>
              <a:rPr lang="cs-CZ" sz="2000" dirty="0" smtClean="0">
                <a:solidFill>
                  <a:srgbClr val="000000"/>
                </a:solidFill>
              </a:rPr>
              <a:t>vozy ZZS </a:t>
            </a:r>
            <a:r>
              <a:rPr lang="cs-CZ" sz="2000" dirty="0" smtClean="0">
                <a:solidFill>
                  <a:srgbClr val="000000"/>
                </a:solidFill>
              </a:rPr>
              <a:t>JMK</a:t>
            </a:r>
          </a:p>
          <a:p>
            <a:r>
              <a:rPr lang="cs-CZ" sz="2000" dirty="0" smtClean="0">
                <a:solidFill>
                  <a:srgbClr val="000000"/>
                </a:solidFill>
              </a:rPr>
              <a:t>	  2 </a:t>
            </a:r>
            <a:r>
              <a:rPr lang="cs-CZ" sz="2000" dirty="0">
                <a:solidFill>
                  <a:srgbClr val="000000"/>
                </a:solidFill>
              </a:rPr>
              <a:t>pacienti s UPV </a:t>
            </a:r>
            <a:r>
              <a:rPr lang="cs-CZ" sz="2000" dirty="0" smtClean="0">
                <a:solidFill>
                  <a:srgbClr val="000000"/>
                </a:solidFill>
              </a:rPr>
              <a:t>transportováni </a:t>
            </a:r>
            <a:r>
              <a:rPr lang="cs-CZ" b="1" dirty="0"/>
              <a:t>W-3A </a:t>
            </a:r>
            <a:r>
              <a:rPr lang="cs-CZ" b="1" dirty="0" smtClean="0"/>
              <a:t>Sokol </a:t>
            </a:r>
            <a:r>
              <a:rPr lang="cs-CZ" sz="2000" dirty="0" smtClean="0">
                <a:solidFill>
                  <a:srgbClr val="000000"/>
                </a:solidFill>
              </a:rPr>
              <a:t>LZS </a:t>
            </a:r>
            <a:r>
              <a:rPr lang="cs-CZ" sz="2000" dirty="0" smtClean="0">
                <a:solidFill>
                  <a:srgbClr val="000000"/>
                </a:solidFill>
              </a:rPr>
              <a:t>Líně</a:t>
            </a:r>
            <a:endParaRPr lang="cs-CZ" sz="2000" dirty="0">
              <a:solidFill>
                <a:srgbClr val="000000"/>
              </a:solidFill>
            </a:endParaRPr>
          </a:p>
          <a:p>
            <a:endParaRPr lang="cs-CZ" dirty="0" smtClean="0">
              <a:solidFill>
                <a:srgbClr val="000000"/>
              </a:solidFill>
            </a:endParaRPr>
          </a:p>
          <a:p>
            <a:endParaRPr lang="cs-CZ" dirty="0">
              <a:solidFill>
                <a:srgbClr val="000000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89570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ituační schéma transportu 25.11.2021</a:t>
            </a:r>
            <a:endParaRPr lang="cs-CZ" dirty="0"/>
          </a:p>
        </p:txBody>
      </p:sp>
      <p:sp>
        <p:nvSpPr>
          <p:cNvPr id="5" name="Obdélník 4"/>
          <p:cNvSpPr/>
          <p:nvPr/>
        </p:nvSpPr>
        <p:spPr>
          <a:xfrm>
            <a:off x="799869" y="1016606"/>
            <a:ext cx="1415900" cy="90191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FN Brno Bohunice</a:t>
            </a:r>
            <a:endParaRPr kumimoji="0" lang="cs-CZ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délník 10"/>
          <p:cNvSpPr/>
          <p:nvPr/>
        </p:nvSpPr>
        <p:spPr>
          <a:xfrm>
            <a:off x="797069" y="4710668"/>
            <a:ext cx="1211895" cy="822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FNUS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Brno</a:t>
            </a:r>
            <a:endParaRPr kumimoji="0" lang="cs-CZ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/>
          <p:cNvSpPr txBox="1"/>
          <p:nvPr/>
        </p:nvSpPr>
        <p:spPr>
          <a:xfrm>
            <a:off x="4399554" y="3487224"/>
            <a:ext cx="21104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 na lékař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D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louc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ředitel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ZS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MP</a:t>
            </a:r>
          </a:p>
        </p:txBody>
      </p:sp>
      <p:sp>
        <p:nvSpPr>
          <p:cNvPr id="19" name="TextovéPole 18"/>
          <p:cNvSpPr txBox="1"/>
          <p:nvPr/>
        </p:nvSpPr>
        <p:spPr>
          <a:xfrm>
            <a:off x="6987008" y="3315936"/>
            <a:ext cx="1966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ha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Šipka doprava 19"/>
          <p:cNvSpPr/>
          <p:nvPr/>
        </p:nvSpPr>
        <p:spPr>
          <a:xfrm rot="1262766">
            <a:off x="2543886" y="2657663"/>
            <a:ext cx="2030569" cy="190391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Šipka doprava 24"/>
          <p:cNvSpPr/>
          <p:nvPr/>
        </p:nvSpPr>
        <p:spPr>
          <a:xfrm rot="1418969" flipV="1">
            <a:off x="6443459" y="2264977"/>
            <a:ext cx="3299805" cy="222489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/>
          <p:cNvSpPr txBox="1"/>
          <p:nvPr/>
        </p:nvSpPr>
        <p:spPr>
          <a:xfrm>
            <a:off x="797069" y="5638713"/>
            <a:ext cx="1831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x UPV pacienti</a:t>
            </a:r>
            <a:endParaRPr kumimoji="0" lang="cs-CZ" sz="18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Šipka doprava 21"/>
          <p:cNvSpPr/>
          <p:nvPr/>
        </p:nvSpPr>
        <p:spPr>
          <a:xfrm rot="20921651">
            <a:off x="2505875" y="1849809"/>
            <a:ext cx="1969320" cy="191760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797070" y="5952473"/>
            <a:ext cx="6403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ní osoba: KKIP JHM prof. Šrám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797071" y="1946903"/>
            <a:ext cx="19830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x UPV paci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x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 s O</a:t>
            </a:r>
            <a:r>
              <a:rPr kumimoji="0" lang="cs-CZ" sz="18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ovéPole 29"/>
          <p:cNvSpPr txBox="1"/>
          <p:nvPr/>
        </p:nvSpPr>
        <p:spPr>
          <a:xfrm>
            <a:off x="797069" y="2691790"/>
            <a:ext cx="21162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ní osoba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f. </a:t>
            </a:r>
            <a:r>
              <a:rPr kumimoji="0" lang="cs-CZ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udka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9" name="Obrázek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9516" y="2691790"/>
            <a:ext cx="1979281" cy="781816"/>
          </a:xfrm>
          <a:prstGeom prst="rect">
            <a:avLst/>
          </a:prstGeom>
        </p:spPr>
      </p:pic>
      <p:sp>
        <p:nvSpPr>
          <p:cNvPr id="50" name="Šipka doprava 49"/>
          <p:cNvSpPr/>
          <p:nvPr/>
        </p:nvSpPr>
        <p:spPr>
          <a:xfrm rot="3200065">
            <a:off x="6313514" y="3619050"/>
            <a:ext cx="1464375" cy="248640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8" name="Obrázek 7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643" y="1286692"/>
            <a:ext cx="1985364" cy="995736"/>
          </a:xfrm>
          <a:prstGeom prst="rect">
            <a:avLst/>
          </a:prstGeom>
        </p:spPr>
      </p:pic>
      <p:sp>
        <p:nvSpPr>
          <p:cNvPr id="83" name="Obdélník 82"/>
          <p:cNvSpPr/>
          <p:nvPr/>
        </p:nvSpPr>
        <p:spPr>
          <a:xfrm>
            <a:off x="9247642" y="3113355"/>
            <a:ext cx="1211895" cy="7205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FN Motol</a:t>
            </a:r>
            <a:endParaRPr kumimoji="0" lang="cs-CZ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Obdélník 83"/>
          <p:cNvSpPr/>
          <p:nvPr/>
        </p:nvSpPr>
        <p:spPr>
          <a:xfrm>
            <a:off x="9247642" y="3960235"/>
            <a:ext cx="1211894" cy="7205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FN Bulovka</a:t>
            </a:r>
            <a:endParaRPr kumimoji="0" lang="cs-CZ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Obdélník 84"/>
          <p:cNvSpPr/>
          <p:nvPr/>
        </p:nvSpPr>
        <p:spPr>
          <a:xfrm>
            <a:off x="9247642" y="4807115"/>
            <a:ext cx="1211895" cy="7205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VFN</a:t>
            </a:r>
            <a:endParaRPr kumimoji="0" lang="cs-CZ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Šipka doprava 85"/>
          <p:cNvSpPr/>
          <p:nvPr/>
        </p:nvSpPr>
        <p:spPr>
          <a:xfrm rot="20073529" flipV="1">
            <a:off x="7455390" y="3845358"/>
            <a:ext cx="1818742" cy="207121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Šipka doprava 86"/>
          <p:cNvSpPr/>
          <p:nvPr/>
        </p:nvSpPr>
        <p:spPr>
          <a:xfrm flipV="1">
            <a:off x="7519414" y="4251745"/>
            <a:ext cx="1711021" cy="178966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8" name="Šipka doprava 87"/>
          <p:cNvSpPr/>
          <p:nvPr/>
        </p:nvSpPr>
        <p:spPr>
          <a:xfrm rot="1486283" flipV="1">
            <a:off x="7455791" y="4627040"/>
            <a:ext cx="1838266" cy="213453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487757" y="4497116"/>
            <a:ext cx="759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x O</a:t>
            </a:r>
            <a:r>
              <a:rPr kumimoji="0" lang="cs-CZ" sz="18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ovéPole 35"/>
          <p:cNvSpPr txBox="1"/>
          <p:nvPr/>
        </p:nvSpPr>
        <p:spPr>
          <a:xfrm>
            <a:off x="8467806" y="3902797"/>
            <a:ext cx="759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x O</a:t>
            </a:r>
            <a:r>
              <a:rPr kumimoji="0" lang="cs-CZ" sz="18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ovéPole 37"/>
          <p:cNvSpPr txBox="1"/>
          <p:nvPr/>
        </p:nvSpPr>
        <p:spPr>
          <a:xfrm>
            <a:off x="8455222" y="3139967"/>
            <a:ext cx="759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x O</a:t>
            </a:r>
            <a:r>
              <a:rPr kumimoji="0" lang="cs-CZ" sz="18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xtovéPole 38"/>
          <p:cNvSpPr txBox="1"/>
          <p:nvPr/>
        </p:nvSpPr>
        <p:spPr>
          <a:xfrm>
            <a:off x="8336763" y="2072728"/>
            <a:ext cx="11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 UPV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10459537" y="3276339"/>
            <a:ext cx="1920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c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mazal</a:t>
            </a:r>
          </a:p>
        </p:txBody>
      </p:sp>
      <p:sp>
        <p:nvSpPr>
          <p:cNvPr id="43" name="TextovéPole 42"/>
          <p:cNvSpPr txBox="1"/>
          <p:nvPr/>
        </p:nvSpPr>
        <p:spPr>
          <a:xfrm>
            <a:off x="10459537" y="4087463"/>
            <a:ext cx="1920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.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háčová</a:t>
            </a:r>
          </a:p>
        </p:txBody>
      </p:sp>
      <p:sp>
        <p:nvSpPr>
          <p:cNvPr id="45" name="TextovéPole 44"/>
          <p:cNvSpPr txBox="1"/>
          <p:nvPr/>
        </p:nvSpPr>
        <p:spPr>
          <a:xfrm>
            <a:off x="10459537" y="4978777"/>
            <a:ext cx="1920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.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láha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4313197" y="921269"/>
            <a:ext cx="26187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ordinace přes NDL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bdélník 47"/>
          <p:cNvSpPr/>
          <p:nvPr/>
        </p:nvSpPr>
        <p:spPr>
          <a:xfrm>
            <a:off x="9247642" y="5656382"/>
            <a:ext cx="1211895" cy="7205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 err="1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/>
              </a:rPr>
              <a:t>Nem</a:t>
            </a:r>
            <a:r>
              <a:rPr lang="cs-CZ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Homolka</a:t>
            </a:r>
            <a:endParaRPr kumimoji="0" lang="cs-CZ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3824654" y="5380707"/>
            <a:ext cx="20398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>
                <a:solidFill>
                  <a:srgbClr val="000000"/>
                </a:solidFill>
              </a:rPr>
              <a:t>Převoz </a:t>
            </a:r>
            <a:r>
              <a:rPr lang="cs-CZ" dirty="0">
                <a:solidFill>
                  <a:srgbClr val="000000"/>
                </a:solidFill>
              </a:rPr>
              <a:t>ZZS </a:t>
            </a:r>
            <a:r>
              <a:rPr lang="cs-CZ" dirty="0" smtClean="0">
                <a:solidFill>
                  <a:srgbClr val="000000"/>
                </a:solidFill>
              </a:rPr>
              <a:t>JMK</a:t>
            </a:r>
            <a:endParaRPr lang="cs-CZ" dirty="0"/>
          </a:p>
        </p:txBody>
      </p:sp>
      <p:sp>
        <p:nvSpPr>
          <p:cNvPr id="35" name="Šipka doprava 34"/>
          <p:cNvSpPr/>
          <p:nvPr/>
        </p:nvSpPr>
        <p:spPr>
          <a:xfrm>
            <a:off x="2631222" y="5708861"/>
            <a:ext cx="4683977" cy="202385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Šipka doprava 36"/>
          <p:cNvSpPr/>
          <p:nvPr/>
        </p:nvSpPr>
        <p:spPr>
          <a:xfrm rot="20882917" flipV="1">
            <a:off x="7358502" y="5510376"/>
            <a:ext cx="1818742" cy="207121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Šipka doprava 39"/>
          <p:cNvSpPr/>
          <p:nvPr/>
        </p:nvSpPr>
        <p:spPr>
          <a:xfrm rot="436379" flipV="1">
            <a:off x="7362287" y="5824362"/>
            <a:ext cx="1838266" cy="213453"/>
          </a:xfrm>
          <a:prstGeom prst="rightArrow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ovéPole 40"/>
          <p:cNvSpPr txBox="1"/>
          <p:nvPr/>
        </p:nvSpPr>
        <p:spPr>
          <a:xfrm>
            <a:off x="8209672" y="5093653"/>
            <a:ext cx="11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 UPV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ovéPole 41"/>
          <p:cNvSpPr txBox="1"/>
          <p:nvPr/>
        </p:nvSpPr>
        <p:spPr>
          <a:xfrm>
            <a:off x="8332466" y="5625387"/>
            <a:ext cx="11174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 UPV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TextovéPole 43"/>
          <p:cNvSpPr txBox="1"/>
          <p:nvPr/>
        </p:nvSpPr>
        <p:spPr>
          <a:xfrm>
            <a:off x="10375675" y="5783984"/>
            <a:ext cx="2088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Dr. Mikulenka</a:t>
            </a:r>
          </a:p>
        </p:txBody>
      </p:sp>
    </p:spTree>
    <p:extLst>
      <p:ext uri="{BB962C8B-B14F-4D97-AF65-F5344CB8AC3E}">
        <p14:creationId xmlns:p14="http://schemas.microsoft.com/office/powerpoint/2010/main" val="2780849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AD4F5B81-DEEF-420C-B58A-FBC4192C321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 3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8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0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75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772413" y="6129135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3.11.2021 0:3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04274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648E49E2-A0EC-489C-AB52-5B28B9BF5EB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5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03538" y="6129135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3.11.2021 0:36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2909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9250250"/>
              </p:ext>
            </p:extLst>
          </p:nvPr>
        </p:nvGraphicFramePr>
        <p:xfrm>
          <a:off x="8663882" y="3136993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.10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cs-CZ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3</a:t>
                      </a:r>
                      <a:r>
                        <a:rPr kumimoji="0" lang="cs-CZ" sz="13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72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65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9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3" name="Obdélník 2"/>
          <p:cNvSpPr/>
          <p:nvPr/>
        </p:nvSpPr>
        <p:spPr>
          <a:xfrm>
            <a:off x="8663618" y="1734499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23.11.2021</a:t>
            </a:r>
            <a:endParaRPr lang="cs-CZ" b="1" dirty="0"/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b="1" dirty="0" smtClean="0"/>
              <a:t>21.10.2020</a:t>
            </a:r>
            <a:endParaRPr lang="cs-CZ" b="1" dirty="0"/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265525"/>
              </p:ext>
            </p:extLst>
          </p:nvPr>
        </p:nvGraphicFramePr>
        <p:xfrm>
          <a:off x="9219319" y="4593432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7">
            <a:extLst>
              <a:ext uri="{FF2B5EF4-FFF2-40B4-BE49-F238E27FC236}">
                <a16:creationId xmlns:a16="http://schemas.microsoft.com/office/drawing/2014/main" id="{DDE47825-8D0A-43E6-8EFE-5C6F1ED706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93192" y="914673"/>
            <a:ext cx="8336772" cy="5442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2326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539</TotalTime>
  <Words>2223</Words>
  <Application>Microsoft Office PowerPoint</Application>
  <PresentationFormat>Širokoúhlá obrazovka</PresentationFormat>
  <Paragraphs>681</Paragraphs>
  <Slides>15</Slides>
  <Notes>7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15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2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Mezikrajové překlady pacientů </vt:lpstr>
      <vt:lpstr>Situační schéma transportu 25.11.2021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 </vt:lpstr>
      <vt:lpstr>Hodnocení situace v krajích od KKIP</vt:lpstr>
      <vt:lpstr>Hodnocení situace v krajích od KKIP</vt:lpstr>
      <vt:lpstr>Hodnocení situace v krajích od KKIP</vt:lpstr>
      <vt:lpstr>Hodnocení situace v krajích od KKIP</vt:lpstr>
      <vt:lpstr>Mezikrajové překlady pacientů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563</cp:revision>
  <cp:lastPrinted>2020-10-20T04:21:56Z</cp:lastPrinted>
  <dcterms:created xsi:type="dcterms:W3CDTF">2020-07-15T10:33:32Z</dcterms:created>
  <dcterms:modified xsi:type="dcterms:W3CDTF">2021-11-25T15:30:44Z</dcterms:modified>
</cp:coreProperties>
</file>